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handoutMasterIdLst>
    <p:handoutMasterId r:id="rId8"/>
  </p:handoutMasterIdLst>
  <p:sldIdLst>
    <p:sldId id="268" r:id="rId2"/>
    <p:sldId id="270" r:id="rId3"/>
    <p:sldId id="271" r:id="rId4"/>
    <p:sldId id="272" r:id="rId5"/>
    <p:sldId id="269" r:id="rId6"/>
  </p:sldIdLst>
  <p:sldSz cx="9144000" cy="6858000" type="screen4x3"/>
  <p:notesSz cx="6858000" cy="91440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" initials="A" lastIdx="3" clrIdx="0">
    <p:extLst>
      <p:ext uri="{19B8F6BF-5375-455C-9EA6-DF929625EA0E}">
        <p15:presenceInfo xmlns:p15="http://schemas.microsoft.com/office/powerpoint/2012/main" userId="ADM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00A9E9"/>
    <a:srgbClr val="00A2E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39" autoAdjust="0"/>
    <p:restoredTop sz="94660"/>
  </p:normalViewPr>
  <p:slideViewPr>
    <p:cSldViewPr snapToGrid="0" showGuides="1">
      <p:cViewPr varScale="1">
        <p:scale>
          <a:sx n="102" d="100"/>
          <a:sy n="102" d="100"/>
        </p:scale>
        <p:origin x="744" y="184"/>
      </p:cViewPr>
      <p:guideLst>
        <p:guide orient="horz" pos="218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1756F9B-1B17-4EE2-BD49-988E7FABDC1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E41247B-3FBD-4A36-A577-29D86DA099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06F806-DB54-45D6-8AD4-F912799DA560}" type="datetimeFigureOut">
              <a:rPr lang="en-ID" smtClean="0"/>
              <a:t>17/10/18</a:t>
            </a:fld>
            <a:endParaRPr lang="en-ID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931CC3-B0B4-4AF4-90C4-3E5537C8DB1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294096-72E1-4DF0-A25D-F9A30D60303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6D3351-1165-4599-8600-4D73A70046AA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1449804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264497-5C63-4146-A752-7271852AC8CE}" type="datetimeFigureOut">
              <a:rPr lang="en-ID" smtClean="0"/>
              <a:t>17/10/18</a:t>
            </a:fld>
            <a:endParaRPr lang="en-ID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4492AB-84AC-46AC-8DC3-5834F105C21E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79741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16F0F20A-BC36-4949-828E-A0EAF419C3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92" r="23003"/>
          <a:stretch/>
        </p:blipFill>
        <p:spPr>
          <a:xfrm>
            <a:off x="-7558675" y="0"/>
            <a:ext cx="13233304" cy="11390128"/>
          </a:xfrm>
          <a:custGeom>
            <a:avLst/>
            <a:gdLst>
              <a:gd name="connsiteX0" fmla="*/ 0 w 13233304"/>
              <a:gd name="connsiteY0" fmla="*/ 10707329 h 11390128"/>
              <a:gd name="connsiteX1" fmla="*/ 4530798 w 13233304"/>
              <a:gd name="connsiteY1" fmla="*/ 10707329 h 11390128"/>
              <a:gd name="connsiteX2" fmla="*/ 4530798 w 13233304"/>
              <a:gd name="connsiteY2" fmla="*/ 10891985 h 11390128"/>
              <a:gd name="connsiteX3" fmla="*/ 13233304 w 13233304"/>
              <a:gd name="connsiteY3" fmla="*/ 10891985 h 11390128"/>
              <a:gd name="connsiteX4" fmla="*/ 13233304 w 13233304"/>
              <a:gd name="connsiteY4" fmla="*/ 11390128 h 11390128"/>
              <a:gd name="connsiteX5" fmla="*/ 0 w 13233304"/>
              <a:gd name="connsiteY5" fmla="*/ 11390128 h 11390128"/>
              <a:gd name="connsiteX6" fmla="*/ 7533369 w 13233304"/>
              <a:gd name="connsiteY6" fmla="*/ 0 h 11390128"/>
              <a:gd name="connsiteX7" fmla="*/ 13233304 w 13233304"/>
              <a:gd name="connsiteY7" fmla="*/ 0 h 11390128"/>
              <a:gd name="connsiteX8" fmla="*/ 13233304 w 13233304"/>
              <a:gd name="connsiteY8" fmla="*/ 6869007 h 11390128"/>
              <a:gd name="connsiteX9" fmla="*/ 7533369 w 13233304"/>
              <a:gd name="connsiteY9" fmla="*/ 6869007 h 11390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233304" h="11390128">
                <a:moveTo>
                  <a:pt x="0" y="10707329"/>
                </a:moveTo>
                <a:lnTo>
                  <a:pt x="4530798" y="10707329"/>
                </a:lnTo>
                <a:lnTo>
                  <a:pt x="4530798" y="10891985"/>
                </a:lnTo>
                <a:lnTo>
                  <a:pt x="13233304" y="10891985"/>
                </a:lnTo>
                <a:lnTo>
                  <a:pt x="13233304" y="11390128"/>
                </a:lnTo>
                <a:lnTo>
                  <a:pt x="0" y="11390128"/>
                </a:lnTo>
                <a:close/>
                <a:moveTo>
                  <a:pt x="7533369" y="0"/>
                </a:moveTo>
                <a:lnTo>
                  <a:pt x="13233304" y="0"/>
                </a:lnTo>
                <a:lnTo>
                  <a:pt x="13233304" y="6869007"/>
                </a:lnTo>
                <a:lnTo>
                  <a:pt x="7533369" y="6869007"/>
                </a:lnTo>
                <a:close/>
              </a:path>
            </a:pathLst>
          </a:cu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F60CAB3-0C06-45DD-AEED-4AFD7A98F9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19313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2027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3955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 b="0" i="1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95725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8750C-1DB9-4AAC-8A63-E1DF371034C6}" type="datetime1">
              <a:rPr lang="en-ID" smtClean="0"/>
              <a:t>17/10/18</a:t>
            </a:fld>
            <a:endParaRPr lang="en-ID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2710980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17378-F6F7-4E90-B4D4-345AC4ED8FA4}" type="datetime1">
              <a:rPr lang="en-ID" smtClean="0"/>
              <a:t>17/10/18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116248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444A55-5008-4DF6-8A7D-00C8994918FC}" type="datetime1">
              <a:rPr lang="en-ID" smtClean="0"/>
              <a:t>17/10/18</a:t>
            </a:fld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1262461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46177F-07B8-45C5-A0BC-FD33B7D3BD6F}" type="datetime1">
              <a:rPr lang="en-ID" smtClean="0"/>
              <a:t>17/10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271114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BFD64-FE24-4159-9390-F07D008B02B4}" type="datetime1">
              <a:rPr lang="en-ID" smtClean="0"/>
              <a:t>17/10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88038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F4DD9D09-7C02-4401-9438-3224630453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6269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CF1BDC4-2366-49C5-AEF4-7CE4E2E6D4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CF1BDC4-2366-49C5-AEF4-7CE4E2E6D4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971D48B-493E-40C3-8806-B88F1ED5A7C9}"/>
              </a:ext>
            </a:extLst>
          </p:cNvPr>
          <p:cNvSpPr/>
          <p:nvPr userDrawn="1"/>
        </p:nvSpPr>
        <p:spPr>
          <a:xfrm flipH="1">
            <a:off x="0" y="2261551"/>
            <a:ext cx="9144000" cy="3186783"/>
          </a:xfrm>
          <a:prstGeom prst="rect">
            <a:avLst/>
          </a:prstGeom>
          <a:gradFill flip="none" rotWithShape="1">
            <a:gsLst>
              <a:gs pos="20000">
                <a:srgbClr val="0070C0"/>
              </a:gs>
              <a:gs pos="100000">
                <a:srgbClr val="00A2E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2532997"/>
            <a:ext cx="6858000" cy="974849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725741"/>
            <a:ext cx="6858000" cy="1353281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bg1"/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76BB3D5-5DCF-4CE6-902C-C48481B34E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138" y="584695"/>
            <a:ext cx="2227725" cy="489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8246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33E9A3C-F198-4DC8-9F7F-465D280BA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774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9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2E80798D-3BCF-4B92-B9DB-B36039D8B3C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49D0C715-1ECA-4AA5-B830-DA30A1C06C93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9874" y="1359493"/>
            <a:ext cx="8144252" cy="4817470"/>
          </a:xfrm>
        </p:spPr>
        <p:txBody>
          <a:bodyPr>
            <a:normAutofit/>
          </a:bodyPr>
          <a:lstStyle>
            <a:lvl1pPr>
              <a:defRPr sz="2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sz="20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sz="18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sz="16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sz="1400" b="0" i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11780B7-50A3-4B07-9AD1-1BF2AC68EEE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DC2FE39-881D-4F59-A7E3-5F7A80125A2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A07E4FB6-3FBA-4317-B257-46D659556D0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714A3195-1A8B-4DE2-8DF5-BFA7BAB8561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2642F9D-7DD0-4946-AAA0-3EF4810DC2C6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B3B2D956-4ED8-40FF-8872-F89EEFC4B095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E8F3E768-8613-4814-B2B7-3546BFFD825A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3A425024-6B81-4868-A8EB-C0605A171A2C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C89694B-E6E6-42D1-824C-1D1521D5C43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D3DF54CC-8476-41BB-B7CF-33A6B3F10AC4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45330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val 18">
            <a:extLst>
              <a:ext uri="{FF2B5EF4-FFF2-40B4-BE49-F238E27FC236}">
                <a16:creationId xmlns:a16="http://schemas.microsoft.com/office/drawing/2014/main" id="{0207483D-39FA-4D50-B618-2F18B5C2FADA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9683C48-D1E4-4D18-AECF-CEA24FDD037D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59493"/>
            <a:ext cx="4014976" cy="481747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4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4F3D07E-3A96-4646-B586-7ABC95D4E0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EE5C5F32-C000-4F35-BD73-17B74F327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4425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F58324B2-1EA4-47DA-B46C-B4322CD890F6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95D32BEB-F039-433B-AAF4-82F7C4D3D0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150CF4-1A1A-460D-9C22-587035EEC092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3C166D0D-D8DE-40BA-BFF3-716365A68B26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CE03384-E0A8-4286-900E-C0D4419FA70D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DEFDB12-BB71-49D0-AF71-117CB17C813D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EF6370E-6471-411A-9BB3-55B0A06B31D9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D823C34E-DAED-466A-8FF4-03FC3C47101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36869629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3EDB541-F165-49AE-B249-66247B7548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8167" y="266021"/>
            <a:ext cx="9144000" cy="684677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62400" y="1716702"/>
            <a:ext cx="5248281" cy="15001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rgbClr val="00A2E4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62401" y="3243878"/>
            <a:ext cx="5248282" cy="44553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Lato Medium" panose="020F0502020204030203" pitchFamily="34" charset="0"/>
                <a:ea typeface="Lato Medium" panose="020F0502020204030203" pitchFamily="34" charset="0"/>
                <a:cs typeface="Lato Medium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46D70A4-65D8-4ABD-88D2-72D656721014}"/>
              </a:ext>
            </a:extLst>
          </p:cNvPr>
          <p:cNvGrpSpPr/>
          <p:nvPr userDrawn="1"/>
        </p:nvGrpSpPr>
        <p:grpSpPr>
          <a:xfrm flipH="1">
            <a:off x="4102099" y="3916256"/>
            <a:ext cx="725849" cy="160443"/>
            <a:chOff x="585600" y="295515"/>
            <a:chExt cx="324038" cy="7162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89768E62-6B4B-471F-A113-15BB5AC2B08E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02469F6-810F-47B4-812C-19A3CC8DDC4D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D8A48149-451C-44F8-A861-750720893A3C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EE8CD338-D783-4A60-B3A0-0B4EC2F4F7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0975" y="6464166"/>
            <a:ext cx="886966" cy="178747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8480968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4CDBFD-28C2-4C56-8466-C46805749D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513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3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6AB6FD2B-3EF0-4757-ABF3-6DDAFD468FD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5234861" y="2364577"/>
            <a:ext cx="6357233" cy="4760123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CC8EF95-6B86-40ED-B74A-AF60EF8E059E}"/>
              </a:ext>
            </a:extLst>
          </p:cNvPr>
          <p:cNvSpPr/>
          <p:nvPr userDrawn="1"/>
        </p:nvSpPr>
        <p:spPr>
          <a:xfrm>
            <a:off x="5238750" y="2343150"/>
            <a:ext cx="3905250" cy="4514793"/>
          </a:xfrm>
          <a:prstGeom prst="rect">
            <a:avLst/>
          </a:prstGeom>
          <a:solidFill>
            <a:schemeClr val="bg1">
              <a:alpha val="6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00EFED4-8EB7-4477-B49D-19B155DAA841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9E947E5-DBEA-41AB-AFF5-2B6A62DC096F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983B10F-F783-41C7-A2E4-54CE39FBA56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CF8A2345-0FEE-4BCA-BFAD-E1A8E550AC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 i="0">
                <a:solidFill>
                  <a:schemeClr val="tx1">
                    <a:lumMod val="75000"/>
                    <a:lumOff val="25000"/>
                  </a:schemeClr>
                </a:solidFill>
                <a:latin typeface="Lato Black" panose="020F0502020204030203" pitchFamily="34" charset="0"/>
                <a:ea typeface="Lato Black" panose="020F0502020204030203" pitchFamily="34" charset="0"/>
                <a:cs typeface="Lato Black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3FA351F4-B22D-47F5-B7A7-23077DEC6CB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16754A07-0931-4AE3-9477-D372D16AA3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53A2C9E-5929-4F91-958A-526EE99082DE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6BB8FE92-F37E-4EB6-BE50-B6EF753B9363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2827505-D0D6-4BCF-BE16-F9E85E7068F8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05F0235-59E7-4F24-8972-8BAA1B46DFC6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210B401-1FEA-43CC-9E2A-7128D3DE6FE8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6E37480-8A72-4BA4-8FBE-A42C9E98F62B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8855663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DB2F325-65F3-434B-A453-0CB17FF32E0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48075" y="1359493"/>
            <a:ext cx="5015101" cy="4816475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</a:defRPr>
            </a:lvl1pPr>
          </a:lstStyle>
          <a:p>
            <a:endParaRPr lang="en-ID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6D9C3E8-85C8-4470-B4AB-89116B9BE7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9874" y="1359493"/>
            <a:ext cx="2995801" cy="481646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lang="en-US" sz="18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 lang="en-US" sz="16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 lang="en-US" sz="1400" b="0" i="0" smtClean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 lang="en-US" sz="1200" b="0" i="0" dirty="0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AE9AF693-883E-4207-A1E0-355E073E9BEE}"/>
              </a:ext>
            </a:extLst>
          </p:cNvPr>
          <p:cNvSpPr/>
          <p:nvPr userDrawn="1"/>
        </p:nvSpPr>
        <p:spPr>
          <a:xfrm rot="5400000">
            <a:off x="4487312" y="-3109086"/>
            <a:ext cx="169377" cy="8333117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30000"/>
                </a:schemeClr>
              </a:gs>
              <a:gs pos="100000">
                <a:schemeClr val="tx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 w="158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d-ID" b="1" dirty="0">
              <a:ln w="0"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6BFE191-F59C-4C97-9F5F-2B2AADF29C6A}"/>
              </a:ext>
            </a:extLst>
          </p:cNvPr>
          <p:cNvSpPr/>
          <p:nvPr userDrawn="1"/>
        </p:nvSpPr>
        <p:spPr>
          <a:xfrm>
            <a:off x="0" y="258792"/>
            <a:ext cx="9144000" cy="8233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DC722F17-13E4-41AD-BC5B-A23436BEDC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875" y="6413366"/>
            <a:ext cx="886966" cy="178747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368F2020-E7CE-4858-95B5-C7646C533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9874" y="427170"/>
            <a:ext cx="8163302" cy="486584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1">
                    <a:lumMod val="75000"/>
                    <a:lumOff val="2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3159BA5C-6D54-4D9C-8EDE-63703770F900}"/>
              </a:ext>
            </a:extLst>
          </p:cNvPr>
          <p:cNvSpPr txBox="1">
            <a:spLocks/>
          </p:cNvSpPr>
          <p:nvPr userDrawn="1"/>
        </p:nvSpPr>
        <p:spPr>
          <a:xfrm>
            <a:off x="499874" y="818053"/>
            <a:ext cx="7049927" cy="27683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endParaRPr lang="en-US" sz="1400" dirty="0">
              <a:solidFill>
                <a:srgbClr val="00A9E9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48999DA8-7FDB-4985-B887-186860CF04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63781" y="6339149"/>
            <a:ext cx="499395" cy="327181"/>
          </a:xfrm>
          <a:noFill/>
        </p:spPr>
        <p:txBody>
          <a:bodyPr/>
          <a:lstStyle>
            <a:lvl1pPr algn="r">
              <a:defRPr sz="110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fld id="{B36ABF38-3DF5-41C9-AF5A-16AA40ED05D1}" type="slidenum">
              <a:rPr lang="en-ID" smtClean="0"/>
              <a:pPr/>
              <a:t>‹#›</a:t>
            </a:fld>
            <a:endParaRPr lang="en-ID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BF50DEB-98F9-4C74-B44D-BDEAE19466FC}"/>
              </a:ext>
            </a:extLst>
          </p:cNvPr>
          <p:cNvCxnSpPr>
            <a:cxnSpLocks/>
          </p:cNvCxnSpPr>
          <p:nvPr userDrawn="1"/>
        </p:nvCxnSpPr>
        <p:spPr>
          <a:xfrm>
            <a:off x="1470660" y="6502739"/>
            <a:ext cx="6609301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DDE03453-2697-4289-937A-193E17334BBB}"/>
              </a:ext>
            </a:extLst>
          </p:cNvPr>
          <p:cNvSpPr/>
          <p:nvPr userDrawn="1"/>
        </p:nvSpPr>
        <p:spPr>
          <a:xfrm>
            <a:off x="8926405" y="427670"/>
            <a:ext cx="217595" cy="485585"/>
          </a:xfrm>
          <a:prstGeom prst="rect">
            <a:avLst/>
          </a:prstGeom>
          <a:solidFill>
            <a:srgbClr val="00A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2C613E88-5093-484E-916D-F8E28BB6F787}"/>
              </a:ext>
            </a:extLst>
          </p:cNvPr>
          <p:cNvGrpSpPr/>
          <p:nvPr userDrawn="1"/>
        </p:nvGrpSpPr>
        <p:grpSpPr>
          <a:xfrm flipH="1">
            <a:off x="611238" y="295515"/>
            <a:ext cx="324038" cy="71626"/>
            <a:chOff x="585600" y="295515"/>
            <a:chExt cx="324038" cy="71626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5F17A953-AB99-464A-925E-EBE9BCB94897}"/>
                </a:ext>
              </a:extLst>
            </p:cNvPr>
            <p:cNvSpPr/>
            <p:nvPr userDrawn="1"/>
          </p:nvSpPr>
          <p:spPr>
            <a:xfrm>
              <a:off x="585600" y="295515"/>
              <a:ext cx="71626" cy="71626"/>
            </a:xfrm>
            <a:prstGeom prst="ellipse">
              <a:avLst/>
            </a:prstGeom>
            <a:solidFill>
              <a:srgbClr val="00A9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3D0C54E5-BEA9-45E0-9D99-3D8EE2047816}"/>
                </a:ext>
              </a:extLst>
            </p:cNvPr>
            <p:cNvSpPr/>
            <p:nvPr userDrawn="1"/>
          </p:nvSpPr>
          <p:spPr>
            <a:xfrm>
              <a:off x="711806" y="295515"/>
              <a:ext cx="71626" cy="71626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6BA2033-7CF3-4158-A25F-31C1FE48D0D3}"/>
                </a:ext>
              </a:extLst>
            </p:cNvPr>
            <p:cNvSpPr/>
            <p:nvPr userDrawn="1"/>
          </p:nvSpPr>
          <p:spPr>
            <a:xfrm>
              <a:off x="838012" y="295515"/>
              <a:ext cx="71626" cy="71626"/>
            </a:xfrm>
            <a:prstGeom prst="ellipse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/>
            </a:p>
          </p:txBody>
        </p:sp>
      </p:grpSp>
    </p:spTree>
    <p:extLst>
      <p:ext uri="{BB962C8B-B14F-4D97-AF65-F5344CB8AC3E}">
        <p14:creationId xmlns:p14="http://schemas.microsoft.com/office/powerpoint/2010/main" val="42423927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891300A-5010-4D6B-BE5B-EB32FC0A344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8550" y="0"/>
            <a:ext cx="9144000" cy="6464724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A56AA3-628C-431A-8BE1-CD8AFAFE04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9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A56AA3-628C-431A-8BE1-CD8AFAFE0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9E75DAEE-E6F3-43A5-A154-B1CDC4819BC4}"/>
              </a:ext>
            </a:extLst>
          </p:cNvPr>
          <p:cNvSpPr/>
          <p:nvPr userDrawn="1"/>
        </p:nvSpPr>
        <p:spPr>
          <a:xfrm>
            <a:off x="-3" y="4690109"/>
            <a:ext cx="9143999" cy="1813197"/>
          </a:xfrm>
          <a:prstGeom prst="rect">
            <a:avLst/>
          </a:prstGeom>
          <a:solidFill>
            <a:schemeClr val="tx2">
              <a:lumMod val="50000"/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6F6AA70-9238-446F-BD59-08D4DB1CB9A4}"/>
              </a:ext>
            </a:extLst>
          </p:cNvPr>
          <p:cNvSpPr/>
          <p:nvPr userDrawn="1"/>
        </p:nvSpPr>
        <p:spPr>
          <a:xfrm flipH="1">
            <a:off x="-2" y="4810102"/>
            <a:ext cx="9144001" cy="1573211"/>
          </a:xfrm>
          <a:prstGeom prst="rect">
            <a:avLst/>
          </a:prstGeom>
          <a:gradFill flip="none" rotWithShape="1">
            <a:gsLst>
              <a:gs pos="14000">
                <a:srgbClr val="0070C0"/>
              </a:gs>
              <a:gs pos="100000">
                <a:srgbClr val="00A2E4"/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D5C1022E-1D06-491F-BFEC-0C350E5E3C4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4922" y="5399659"/>
            <a:ext cx="1793303" cy="394097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A4891B24-AE33-4DB5-B0A4-2D69476791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116" y="4933926"/>
            <a:ext cx="6228159" cy="1325563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73908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2C81C-7D6F-4397-BC7D-185A72931A87}" type="datetime1">
              <a:rPr lang="en-ID" smtClean="0"/>
              <a:t>17/10/18</a:t>
            </a:fld>
            <a:endParaRPr lang="en-ID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31342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4D0A824-0760-401E-9FB4-87ECCBE685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82565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31295B-D3D8-49A1-9BD9-7E47EC69130B}" type="datetime1">
              <a:rPr lang="en-ID" smtClean="0"/>
              <a:t>17/10/18</a:t>
            </a:fld>
            <a:endParaRPr lang="en-ID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D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ABF38-3DF5-41C9-AF5A-16AA40ED05D1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540444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2" r:id="rId3"/>
    <p:sldLayoutId id="2147483673" r:id="rId4"/>
    <p:sldLayoutId id="2147483663" r:id="rId5"/>
    <p:sldLayoutId id="2147483674" r:id="rId6"/>
    <p:sldLayoutId id="2147483675" r:id="rId7"/>
    <p:sldLayoutId id="2147483676" r:id="rId8"/>
    <p:sldLayoutId id="2147483665" r:id="rId9"/>
    <p:sldLayoutId id="2147483666" r:id="rId10"/>
    <p:sldLayoutId id="2147483668" r:id="rId11"/>
    <p:sldLayoutId id="2147483669" r:id="rId12"/>
    <p:sldLayoutId id="2147483670" r:id="rId13"/>
    <p:sldLayoutId id="2147483671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i="0" kern="1200">
          <a:solidFill>
            <a:schemeClr val="tx1"/>
          </a:solidFill>
          <a:latin typeface="Lato Black" panose="020F0502020204030203" pitchFamily="34" charset="0"/>
          <a:ea typeface="Lato Black" panose="020F0502020204030203" pitchFamily="34" charset="0"/>
          <a:cs typeface="Lato Black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gr-ix.gr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F1B5C2-133D-4E3C-99AC-01869FFE40F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ID" dirty="0"/>
              <a:t>Euro-IX Member New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35A7396-9E3F-47A2-A7B9-A32488A9C0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D" dirty="0"/>
              <a:t>RIPE77, Amsterdam</a:t>
            </a:r>
          </a:p>
          <a:p>
            <a:r>
              <a:rPr lang="en-ID" dirty="0"/>
              <a:t>17 October 2018</a:t>
            </a:r>
          </a:p>
        </p:txBody>
      </p:sp>
    </p:spTree>
    <p:extLst>
      <p:ext uri="{BB962C8B-B14F-4D97-AF65-F5344CB8AC3E}">
        <p14:creationId xmlns:p14="http://schemas.microsoft.com/office/powerpoint/2010/main" val="1246495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48D60AC-46A8-2D48-9E39-BFEECB7223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u="sng" dirty="0"/>
              <a:t>MSK-IX</a:t>
            </a:r>
          </a:p>
          <a:p>
            <a:r>
              <a:rPr lang="en-GB" dirty="0"/>
              <a:t>MSK-IX is transforming to multi-service platform.</a:t>
            </a:r>
          </a:p>
          <a:p>
            <a:r>
              <a:rPr lang="en-GB" dirty="0"/>
              <a:t>New services are available: </a:t>
            </a:r>
            <a:r>
              <a:rPr lang="en-GB" dirty="0" err="1"/>
              <a:t>Medialogistika</a:t>
            </a:r>
            <a:r>
              <a:rPr lang="en-GB" dirty="0"/>
              <a:t> (300+ TV channels), Security VLAN, Cloud VLAN, IP-transit VLAN.</a:t>
            </a:r>
          </a:p>
          <a:p>
            <a:r>
              <a:rPr lang="en-GB" dirty="0"/>
              <a:t>MSK-IX launched new DC "M9.PLUS" in M9 - the most popular </a:t>
            </a:r>
            <a:r>
              <a:rPr lang="en-GB" dirty="0" err="1"/>
              <a:t>telehouse</a:t>
            </a:r>
            <a:r>
              <a:rPr lang="en-GB" dirty="0"/>
              <a:t> in Russia.</a:t>
            </a:r>
          </a:p>
          <a:p>
            <a:r>
              <a:rPr lang="en-GB" dirty="0"/>
              <a:t>More than 40 participants took advantage of </a:t>
            </a:r>
            <a:r>
              <a:rPr lang="en-GB" dirty="0" err="1"/>
              <a:t>Colo+Connectivity</a:t>
            </a:r>
            <a:r>
              <a:rPr lang="en-GB" dirty="0"/>
              <a:t> solution this year.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68A3879-4DDC-1E42-A917-FAF044C0CA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Member New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12EDFD-D58D-8641-A499-22228CF5DA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2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764715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99543AB-AA71-5649-8936-88B286384F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u="sng" dirty="0"/>
              <a:t>GR-IX</a:t>
            </a:r>
          </a:p>
          <a:p>
            <a:r>
              <a:rPr lang="en-GB" dirty="0"/>
              <a:t>Plans to launch a new POP at Thessaloniki, the second largest city of Greece. </a:t>
            </a:r>
          </a:p>
          <a:p>
            <a:r>
              <a:rPr lang="en-GB" dirty="0"/>
              <a:t>Thessaloniki is close to the north borders, and we expect that it will be convenient (cheaper) for international players to reach. </a:t>
            </a:r>
          </a:p>
          <a:p>
            <a:r>
              <a:rPr lang="en-GB" dirty="0"/>
              <a:t>The POP will be launched towards the end of '18/</a:t>
            </a:r>
            <a:r>
              <a:rPr lang="en-GB" dirty="0" err="1"/>
              <a:t>beggining</a:t>
            </a:r>
            <a:r>
              <a:rPr lang="en-GB" dirty="0"/>
              <a:t> of '19. Anyone interest should contact me or </a:t>
            </a:r>
            <a:r>
              <a:rPr lang="en-GB" dirty="0">
                <a:hlinkClick r:id="rId2"/>
              </a:rPr>
              <a:t>info@gr-ix.gr</a:t>
            </a:r>
            <a:r>
              <a:rPr lang="en-GB" dirty="0"/>
              <a:t>.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D1DE021-F4D7-064A-AEB0-BE43A5BDF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Member New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FA5FE3-F261-0642-BA10-33420142E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4087112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AB07E0D-C4FC-AC4B-9C16-A06FB6DAB5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b="1" u="sng" dirty="0" err="1"/>
              <a:t>InterLAN</a:t>
            </a:r>
            <a:endParaRPr lang="en-US" dirty="0"/>
          </a:p>
          <a:p>
            <a:r>
              <a:rPr lang="en-GB" dirty="0" err="1"/>
              <a:t>InterLAN</a:t>
            </a:r>
            <a:r>
              <a:rPr lang="en-GB" dirty="0"/>
              <a:t> has 40 &amp; 100G ports available in Bucharest and Frankfurt starting this month and recently implemented AS112 service.</a:t>
            </a:r>
            <a:br>
              <a:rPr lang="en-GB" dirty="0"/>
            </a:br>
            <a:endParaRPr lang="en-GB" dirty="0"/>
          </a:p>
          <a:p>
            <a:pPr marL="0" indent="0">
              <a:buNone/>
            </a:pPr>
            <a:r>
              <a:rPr lang="en-US" b="1" u="sng" dirty="0"/>
              <a:t>DE-CIX</a:t>
            </a:r>
          </a:p>
          <a:p>
            <a:r>
              <a:rPr lang="en-US" dirty="0"/>
              <a:t>The results for your audience:</a:t>
            </a:r>
          </a:p>
          <a:p>
            <a:r>
              <a:rPr lang="en-US" dirty="0"/>
              <a:t>New IX in Lisbon coming soon </a:t>
            </a:r>
          </a:p>
          <a:p>
            <a:r>
              <a:rPr lang="en-US" dirty="0"/>
              <a:t>10+ enabled sites </a:t>
            </a:r>
          </a:p>
          <a:p>
            <a:r>
              <a:rPr lang="en-US" dirty="0"/>
              <a:t>200+ of new access points across Europe and </a:t>
            </a:r>
          </a:p>
          <a:p>
            <a:r>
              <a:rPr lang="en-US" dirty="0"/>
              <a:t>a new automated provisioning featuring a patch robot, that allows the provisioning in minutes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24AF755-68EE-5A41-A742-D3C95D1AF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-IX Member New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21D843C-2A24-8643-96A8-2D255ED973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6ABF38-3DF5-41C9-AF5A-16AA40ED05D1}" type="slidenum">
              <a:rPr lang="en-ID" smtClean="0"/>
              <a:pPr/>
              <a:t>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3003675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690E1A-0FCA-7F4B-AACE-044C04A10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7044023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17</TotalTime>
  <Words>170</Words>
  <Application>Microsoft Macintosh PowerPoint</Application>
  <PresentationFormat>On-screen Show (4:3)</PresentationFormat>
  <Paragraphs>2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Lato</vt:lpstr>
      <vt:lpstr>Lato Black</vt:lpstr>
      <vt:lpstr>Lato Light</vt:lpstr>
      <vt:lpstr>Lato Medium</vt:lpstr>
      <vt:lpstr>Office Theme</vt:lpstr>
      <vt:lpstr>think-cell Slide</vt:lpstr>
      <vt:lpstr>Euro-IX Member News</vt:lpstr>
      <vt:lpstr>Euro-IX Member News</vt:lpstr>
      <vt:lpstr>Euro-IX Member News</vt:lpstr>
      <vt:lpstr>Euro-IX Member News</vt:lpstr>
      <vt:lpstr>Thank You!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</dc:creator>
  <cp:lastModifiedBy>Bijal Sanghani</cp:lastModifiedBy>
  <cp:revision>48</cp:revision>
  <dcterms:created xsi:type="dcterms:W3CDTF">2018-01-11T19:04:12Z</dcterms:created>
  <dcterms:modified xsi:type="dcterms:W3CDTF">2018-10-17T09:03:00Z</dcterms:modified>
</cp:coreProperties>
</file>